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  <p:sldMasterId id="2147483684" r:id="rId3"/>
    <p:sldMasterId id="2147483696" r:id="rId4"/>
    <p:sldMasterId id="2147483708" r:id="rId5"/>
    <p:sldMasterId id="2147483720" r:id="rId6"/>
    <p:sldMasterId id="2147483732" r:id="rId7"/>
  </p:sldMasterIdLst>
  <p:notesMasterIdLst>
    <p:notesMasterId r:id="rId22"/>
  </p:notesMasterIdLst>
  <p:sldIdLst>
    <p:sldId id="260" r:id="rId8"/>
    <p:sldId id="262" r:id="rId9"/>
    <p:sldId id="310" r:id="rId10"/>
    <p:sldId id="311" r:id="rId11"/>
    <p:sldId id="312" r:id="rId12"/>
    <p:sldId id="313" r:id="rId13"/>
    <p:sldId id="314" r:id="rId14"/>
    <p:sldId id="315" r:id="rId15"/>
    <p:sldId id="289" r:id="rId16"/>
    <p:sldId id="290" r:id="rId17"/>
    <p:sldId id="291" r:id="rId18"/>
    <p:sldId id="317" r:id="rId19"/>
    <p:sldId id="292" r:id="rId20"/>
    <p:sldId id="293" r:id="rId21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FA0000"/>
    <a:srgbClr val="FF3737"/>
    <a:srgbClr val="E60000"/>
    <a:srgbClr val="CC99FF"/>
    <a:srgbClr val="FF5757"/>
    <a:srgbClr val="FF99FF"/>
    <a:srgbClr val="EDF58B"/>
    <a:srgbClr val="DBE6C4"/>
    <a:srgbClr val="FF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43" autoAdjust="0"/>
    <p:restoredTop sz="94660"/>
  </p:normalViewPr>
  <p:slideViewPr>
    <p:cSldViewPr>
      <p:cViewPr>
        <p:scale>
          <a:sx n="100" d="100"/>
          <a:sy n="100" d="100"/>
        </p:scale>
        <p:origin x="-528" y="6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endParaRPr lang="ru-RU" sz="1400" b="1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dirty="0" smtClean="0">
            <a:solidFill>
              <a:schemeClr val="bg1"/>
            </a:solidFill>
          </a:endParaRPr>
        </a:p>
        <a:p>
          <a:pPr marL="0" marR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dirty="0" smtClean="0">
            <a:solidFill>
              <a:schemeClr val="bg1"/>
            </a:solidFill>
          </a:endParaRPr>
        </a:p>
        <a:p>
          <a:pPr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 custScaleY="8972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 custScaleY="98388" custLinFactNeighborX="776" custLinFactNeighborY="-15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ScaleY="114973" custLinFactNeighborX="-4021" custLinFactNeighborY="-229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019EF2-91C4-4A02-9389-F6AE751F000E}" type="presOf" srcId="{3F883D72-AB51-44A3-BB69-C25E95E42149}" destId="{CC9EFA65-A778-457A-93C6-B9548DB6D4C8}" srcOrd="0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B46ED2B6-EFF9-43D4-AB58-A5FDE3018EC9}" type="presOf" srcId="{2BCEAB64-79E1-4190-90C6-94A8105E1D4B}" destId="{EBBA0041-A843-441C-87AB-8F637576AE6A}" srcOrd="0" destOrd="0" presId="urn:microsoft.com/office/officeart/2005/8/layout/pyramid1"/>
    <dgm:cxn modelId="{59FD178E-FD80-446F-88E6-62FBF269F647}" type="presOf" srcId="{3F883D72-AB51-44A3-BB69-C25E95E42149}" destId="{0705155B-A724-47C1-A128-C5DF09EE6B97}" srcOrd="1" destOrd="0" presId="urn:microsoft.com/office/officeart/2005/8/layout/pyramid1"/>
    <dgm:cxn modelId="{DE69E844-6A30-4209-B410-EFF4D8F85062}" type="presOf" srcId="{4910AFE8-F8C6-4CA2-8717-10C0C4F9D54E}" destId="{7C3E26E5-8345-4B58-ADD7-8E425EA260AA}" srcOrd="0" destOrd="0" presId="urn:microsoft.com/office/officeart/2005/8/layout/pyramid1"/>
    <dgm:cxn modelId="{2A7A5B2A-361C-4162-9F28-960B744182F0}" type="presOf" srcId="{BE6152E8-A7B0-429C-AE48-E84F07208D3F}" destId="{AE7E8AE7-164D-44BD-BE40-BDE74B4818F7}" srcOrd="1" destOrd="0" presId="urn:microsoft.com/office/officeart/2005/8/layout/pyramid1"/>
    <dgm:cxn modelId="{F9454D7A-528E-4B31-8657-FD4F4AE30CF5}" type="presOf" srcId="{BE6152E8-A7B0-429C-AE48-E84F07208D3F}" destId="{41B0729E-585F-4A7E-A894-AA6DFF53CF58}" srcOrd="0" destOrd="0" presId="urn:microsoft.com/office/officeart/2005/8/layout/pyramid1"/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3B45DA90-50B5-44CC-8AE8-0AED17ED422F}" type="presOf" srcId="{2BCEAB64-79E1-4190-90C6-94A8105E1D4B}" destId="{2B7C2DCE-4CF1-4FE5-90E9-E7B7B569F09C}" srcOrd="1" destOrd="0" presId="urn:microsoft.com/office/officeart/2005/8/layout/pyramid1"/>
    <dgm:cxn modelId="{0C05225F-31EB-46C1-A319-864A3E1E1228}" type="presParOf" srcId="{7C3E26E5-8345-4B58-ADD7-8E425EA260AA}" destId="{04E3F3C2-2FFE-4908-A86D-328E43B3294A}" srcOrd="0" destOrd="0" presId="urn:microsoft.com/office/officeart/2005/8/layout/pyramid1"/>
    <dgm:cxn modelId="{31F0A105-18A4-4D0A-ADE3-D6AADDA76B9A}" type="presParOf" srcId="{04E3F3C2-2FFE-4908-A86D-328E43B3294A}" destId="{41B0729E-585F-4A7E-A894-AA6DFF53CF58}" srcOrd="0" destOrd="0" presId="urn:microsoft.com/office/officeart/2005/8/layout/pyramid1"/>
    <dgm:cxn modelId="{93425880-0A61-44B6-8D8D-3410FFA1EC15}" type="presParOf" srcId="{04E3F3C2-2FFE-4908-A86D-328E43B3294A}" destId="{AE7E8AE7-164D-44BD-BE40-BDE74B4818F7}" srcOrd="1" destOrd="0" presId="urn:microsoft.com/office/officeart/2005/8/layout/pyramid1"/>
    <dgm:cxn modelId="{40240769-CF0C-4A63-B8AF-7A1D6B92FB37}" type="presParOf" srcId="{7C3E26E5-8345-4B58-ADD7-8E425EA260AA}" destId="{189E913C-2543-4D0F-9CBF-BF9B2CF8E0DA}" srcOrd="1" destOrd="0" presId="urn:microsoft.com/office/officeart/2005/8/layout/pyramid1"/>
    <dgm:cxn modelId="{2E6DC1B2-DD13-4DB9-97BF-D7AFE0FECCCA}" type="presParOf" srcId="{189E913C-2543-4D0F-9CBF-BF9B2CF8E0DA}" destId="{EBBA0041-A843-441C-87AB-8F637576AE6A}" srcOrd="0" destOrd="0" presId="urn:microsoft.com/office/officeart/2005/8/layout/pyramid1"/>
    <dgm:cxn modelId="{D7EF1A8A-E302-4B7E-8A64-C3890B3D8B4C}" type="presParOf" srcId="{189E913C-2543-4D0F-9CBF-BF9B2CF8E0DA}" destId="{2B7C2DCE-4CF1-4FE5-90E9-E7B7B569F09C}" srcOrd="1" destOrd="0" presId="urn:microsoft.com/office/officeart/2005/8/layout/pyramid1"/>
    <dgm:cxn modelId="{CDFB839E-D90A-455A-99FD-AE44444D1E8A}" type="presParOf" srcId="{7C3E26E5-8345-4B58-ADD7-8E425EA260AA}" destId="{C7701B75-B313-4FD6-9404-F77707EEE284}" srcOrd="2" destOrd="0" presId="urn:microsoft.com/office/officeart/2005/8/layout/pyramid1"/>
    <dgm:cxn modelId="{E7BFCE5D-9CE4-4996-8B88-CE936272C262}" type="presParOf" srcId="{C7701B75-B313-4FD6-9404-F77707EEE284}" destId="{CC9EFA65-A778-457A-93C6-B9548DB6D4C8}" srcOrd="0" destOrd="0" presId="urn:microsoft.com/office/officeart/2005/8/layout/pyramid1"/>
    <dgm:cxn modelId="{46D5CCDE-B3D9-43C7-865B-8DAE7C9F312B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875538" y="0"/>
          <a:ext cx="1577515" cy="1394996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75538" y="0"/>
        <a:ext cx="1577515" cy="1394996"/>
      </dsp:txXfrm>
    </dsp:sp>
    <dsp:sp modelId="{EBBA0041-A843-441C-87AB-8F637576AE6A}">
      <dsp:nvSpPr>
        <dsp:cNvPr id="0" name=""/>
        <dsp:cNvSpPr/>
      </dsp:nvSpPr>
      <dsp:spPr>
        <a:xfrm>
          <a:off x="1036328" y="1392540"/>
          <a:ext cx="3307264" cy="1529616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гиональный уровень</a:t>
          </a: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615099" y="1392540"/>
        <a:ext cx="2149721" cy="1529616"/>
      </dsp:txXfrm>
    </dsp:sp>
    <dsp:sp modelId="{CC9EFA65-A778-457A-93C6-B9548DB6D4C8}">
      <dsp:nvSpPr>
        <dsp:cNvPr id="0" name=""/>
        <dsp:cNvSpPr/>
      </dsp:nvSpPr>
      <dsp:spPr>
        <a:xfrm>
          <a:off x="0" y="2888948"/>
          <a:ext cx="5328591" cy="1787459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Уровень образовательной организации</a:t>
          </a:r>
          <a:endParaRPr lang="ru-RU" sz="1400" b="1" kern="1200" dirty="0" smtClean="0">
            <a:solidFill>
              <a:schemeClr val="bg1"/>
            </a:solidFill>
          </a:endParaRPr>
        </a:p>
        <a:p>
          <a:pPr marL="0" marR="0" lvl="0" indent="0" algn="ctr" defTabSz="622300" eaLnBrk="1" fontAlgn="auto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  <a:tabLst/>
            <a:defRPr/>
          </a:pPr>
          <a:endParaRPr lang="ru-RU" sz="1400" b="1" kern="1200" dirty="0" smtClean="0">
            <a:solidFill>
              <a:schemeClr val="bg1"/>
            </a:solidFill>
          </a:endParaRPr>
        </a:p>
        <a:p>
          <a:pPr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32503" y="2888948"/>
        <a:ext cx="3463584" cy="17874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2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0AC563A-92D2-414E-B182-3CB43B38B3F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4681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321565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90592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575677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932015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6669920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724210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582389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7156348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3999624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565178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137901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865799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330130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7896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853391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1539626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061404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849458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840668"/>
      </p:ext>
    </p:extLst>
  </p:cSld>
  <p:clrMapOvr>
    <a:masterClrMapping/>
  </p:clrMapOvr>
  <p:transition spd="slow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244578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520675"/>
      </p:ext>
    </p:extLst>
  </p:cSld>
  <p:clrMapOvr>
    <a:masterClrMapping/>
  </p:clrMapOvr>
  <p:transition spd="slow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210409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11327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540401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157109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49465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808654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966182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363693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974011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741618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389038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053723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091405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374544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8123842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7803628"/>
      </p:ext>
    </p:extLst>
  </p:cSld>
  <p:clrMapOvr>
    <a:masterClrMapping/>
  </p:clrMapOvr>
  <p:transition spd="slow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056158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2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08830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236022"/>
      </p:ext>
    </p:extLst>
  </p:cSld>
  <p:clrMapOvr>
    <a:masterClrMapping/>
  </p:clrMapOvr>
  <p:transition spd="slow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597823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979686"/>
      </p:ext>
    </p:extLst>
  </p:cSld>
  <p:clrMapOvr>
    <a:masterClrMapping/>
  </p:clrMapOvr>
  <p:transition spd="slow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092453"/>
      </p:ext>
    </p:extLst>
  </p:cSld>
  <p:clrMapOvr>
    <a:masterClrMapping/>
  </p:clrMapOvr>
  <p:transition spd="slow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354639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055581"/>
      </p:ext>
    </p:extLst>
  </p:cSld>
  <p:clrMapOvr>
    <a:masterClrMapping/>
  </p:clrMapOvr>
  <p:transition spd="slow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121150"/>
      </p:ext>
    </p:extLst>
  </p:cSld>
  <p:clrMapOvr>
    <a:masterClrMapping/>
  </p:clrMapOvr>
  <p:transition spd="slow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070945"/>
      </p:ext>
    </p:extLst>
  </p:cSld>
  <p:clrMapOvr>
    <a:masterClrMapping/>
  </p:clrMapOvr>
  <p:transition spd="slow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3019350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2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84855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44337"/>
      </p:ext>
    </p:extLst>
  </p:cSld>
  <p:clrMapOvr>
    <a:masterClrMapping/>
  </p:clrMapOvr>
  <p:transition spd="slow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4687100"/>
      </p:ext>
    </p:extLst>
  </p:cSld>
  <p:clrMapOvr>
    <a:masterClrMapping/>
  </p:clrMapOvr>
  <p:transition spd="slow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036349"/>
      </p:ext>
    </p:extLst>
  </p:cSld>
  <p:clrMapOvr>
    <a:masterClrMapping/>
  </p:clrMapOvr>
  <p:transition spd="slow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738491"/>
      </p:ext>
    </p:extLst>
  </p:cSld>
  <p:clrMapOvr>
    <a:masterClrMapping/>
  </p:clrMapOvr>
  <p:transition spd="slow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066848"/>
      </p:ext>
    </p:extLst>
  </p:cSld>
  <p:clrMapOvr>
    <a:masterClrMapping/>
  </p:clrMapOvr>
  <p:transition spd="slow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183750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F4C777-D3C6-4822-B72A-90988A8933A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F9241D-BF29-485A-9AB8-EA75CDBF4F0A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12766"/>
      </p:ext>
    </p:extLst>
  </p:cSld>
  <p:clrMapOvr>
    <a:masterClrMapping/>
  </p:clrMapOvr>
  <p:transition spd="slow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A128EE-57F0-4DE4-BC1C-B3085FACE2B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B3CBC3-7457-4C0F-B76F-C1DD2B9B5627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337990"/>
      </p:ext>
    </p:extLst>
  </p:cSld>
  <p:clrMapOvr>
    <a:masterClrMapping/>
  </p:clrMapOvr>
  <p:transition spd="slow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C13073-F456-46E3-89DB-854FFCF01978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6D6E05-A900-4547-8C8A-643FAC830FE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344522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2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E0D52A-A997-47FD-BEDB-8C10B107F0E5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1347F4-E132-4FAE-8AAD-ED86175A3953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094347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EECA74-A51D-425E-864E-CAABA89535AD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30FB49-96A2-41DB-AFFB-34A9DBCDC6A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978660"/>
      </p:ext>
    </p:extLst>
  </p:cSld>
  <p:clrMapOvr>
    <a:masterClrMapping/>
  </p:clrMapOvr>
  <p:transition spd="slow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738C5E-6C76-4029-B783-B51827A7489F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Эффективное управление временем и ресурсами.                                                                                            </a:t>
            </a:r>
            <a:fld id="{FABF669B-5C6A-4BDE-A80E-886F47FC7878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79743"/>
      </p:ext>
    </p:extLst>
  </p:cSld>
  <p:clrMapOvr>
    <a:masterClrMapping/>
  </p:clrMapOvr>
  <p:transition spd="slow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628D54-D95F-4517-895D-18EA46E82D00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3232FD-EC13-4C48-B10E-58F41A69AB44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847431"/>
      </p:ext>
    </p:extLst>
  </p:cSld>
  <p:clrMapOvr>
    <a:masterClrMapping/>
  </p:clrMapOvr>
  <p:transition spd="slow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43621-A1BB-446F-AA30-AA3AA690A1B4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96F6B4-AF8F-4764-8979-D2E8975F3AB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074654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BA2D08-CE9F-4A14-9908-8CEAB5AFFDF1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CFDAA6-9156-4535-A1AE-2F677960189E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504298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768959-66CD-4A9E-9893-E9631BD135E2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513876-1426-49AC-8F28-FD2AFE70DE09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762971"/>
      </p:ext>
    </p:extLst>
  </p:cSld>
  <p:clrMapOvr>
    <a:masterClrMapping/>
  </p:clrMapOvr>
  <p:transition spd="slow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B35C5-1DF9-494C-BEDE-52F41B3AED87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ADF4F4-FCAF-4440-B2DE-87DF5EE2D50C}" type="slidenum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4348281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373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39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510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62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239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AA40D63-ECE1-43AE-8334-03407B8F73CC}" type="datetime1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2.12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777224-3DB2-4A33-9F54-1622375D2478}" type="slidenum">
              <a:rPr lang="ru-RU">
                <a:solidFill>
                  <a:prstClr val="black">
                    <a:tint val="75000"/>
                  </a:prstClr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53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11" Type="http://schemas.openxmlformats.org/officeDocument/2006/relationships/image" Target="../media/image20.jpeg"/><Relationship Id="rId5" Type="http://schemas.openxmlformats.org/officeDocument/2006/relationships/image" Target="../media/image11.emf"/><Relationship Id="rId10" Type="http://schemas.openxmlformats.org/officeDocument/2006/relationships/image" Target="../media/image19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png"/><Relationship Id="rId11" Type="http://schemas.openxmlformats.org/officeDocument/2006/relationships/image" Target="../media/image26.jpeg"/><Relationship Id="rId5" Type="http://schemas.openxmlformats.org/officeDocument/2006/relationships/image" Target="../media/image11.emf"/><Relationship Id="rId10" Type="http://schemas.openxmlformats.org/officeDocument/2006/relationships/image" Target="../media/image25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png"/><Relationship Id="rId11" Type="http://schemas.openxmlformats.org/officeDocument/2006/relationships/image" Target="../media/image30.png"/><Relationship Id="rId5" Type="http://schemas.openxmlformats.org/officeDocument/2006/relationships/image" Target="../media/image11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4.bin"/><Relationship Id="rId9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423316" y="116633"/>
            <a:ext cx="8648700" cy="1093426"/>
          </a:xfrm>
        </p:spPr>
        <p:txBody>
          <a:bodyPr>
            <a:noAutofit/>
          </a:bodyPr>
          <a:lstStyle/>
          <a:p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спорт проекта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b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птимизация процесса перемещения родителей (законных представителей)</a:t>
            </a:r>
            <a:b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о внутреннем и внешнем пространстве ДОО за счет внедрения элементов удобной логистики»</a:t>
            </a:r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223954" y="1038659"/>
            <a:ext cx="8636000" cy="168279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23954" y="2811169"/>
            <a:ext cx="8640100" cy="166961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279367" y="1076367"/>
            <a:ext cx="1956386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</a:t>
            </a: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я: 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235801" y="4566936"/>
            <a:ext cx="8652421" cy="69834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ea typeface="Calibri"/>
                <a:cs typeface="Times New Roman"/>
              </a:rPr>
              <a:t>-</a:t>
            </a:r>
          </a:p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 сокращение маршрутов движения по территории ДОО и обеспечение удобной логистики внутреннего и внешнего пространства ДОО не менее, чем на 85-90 % .</a:t>
            </a:r>
            <a:endParaRPr lang="ru-RU" sz="1200" dirty="0" smtClean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>
            <a:off x="340401" y="2777427"/>
            <a:ext cx="2744069" cy="34019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279366" y="4566936"/>
            <a:ext cx="1388190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235752" y="1165876"/>
            <a:ext cx="5288575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ргана местного  самоуправления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правление образования администрации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менование образовательной организации:</a:t>
            </a:r>
          </a:p>
          <a:p>
            <a:pPr lvl="0"/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«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ский сад </a:t>
            </a:r>
            <a:r>
              <a:rPr lang="ru-RU" sz="11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.Терновк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100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ковлевского</a:t>
            </a:r>
            <a:r>
              <a:rPr lang="ru-RU" sz="11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городского округ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1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ницы процесс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т прихода родителя (законного представителя) за ребенком на площадку до ухода домой.</a:t>
            </a:r>
            <a:endParaRPr lang="ru-RU" sz="11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2.06.2020 г.</a:t>
            </a:r>
          </a:p>
          <a:p>
            <a:r>
              <a:rPr lang="ru-RU" sz="11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10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0.11.2020 </a:t>
            </a:r>
            <a:r>
              <a:rPr lang="ru-RU" sz="11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23954" y="3017996"/>
            <a:ext cx="8517699" cy="1649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Arial"/>
              </a:rPr>
              <a:t>Излишние перемещения родителей (законных представителей) во время прихода за детьми из-за отсутствия элементов удобной логистики в течение 10 мин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Arial"/>
              </a:rPr>
              <a:t>Обеспечение логистики внутреннего и внешнего пространства ДОО составляет 25%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Возникновение ситуации недопонимания между сотрудниками и родителями (законными представителями) до 20%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Количество штатной единицы по должности вахтера составляет 0,25 ставки, что не соответствует потребностям ДОО.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По результатам анкетирования удовлетворенность родителей (законных представителей) удобной логистикой внутреннего и внешнего пространства ДОО составляет 25%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pPr lvl="0">
              <a:lnSpc>
                <a:spcPct val="115000"/>
              </a:lnSpc>
              <a:spcAft>
                <a:spcPts val="1000"/>
              </a:spcAft>
            </a:pP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231097" y="5364494"/>
            <a:ext cx="8621713" cy="131553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357963" y="5391990"/>
            <a:ext cx="1850868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  <a:endParaRPr lang="ru-RU" sz="1400" b="1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47650" y="5677515"/>
            <a:ext cx="8628725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1. Сокращение времени передвижения родителей (законных представителей) во внутреннем и внешнем пространстве ДОО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2. 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Экономический эффект от разработки лидерской командой макетов элементов удобной логистики составил 3800 руб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/>
                <a:ea typeface="Calibri"/>
                <a:cs typeface="Times New Roman"/>
              </a:rPr>
              <a:t>3. Результативность  удовлетворенности родителей (законных представителей) элементами удобной логистики  внутреннего и внешнего пространства ДОО составит 85-90 %.</a:t>
            </a:r>
            <a:endParaRPr lang="ru-RU" sz="1100" dirty="0">
              <a:solidFill>
                <a:schemeClr val="tx2">
                  <a:lumMod val="75000"/>
                </a:schemeClr>
              </a:solidFill>
              <a:ea typeface="Calibri"/>
              <a:cs typeface="Times New Roman"/>
            </a:endParaRPr>
          </a:p>
          <a:p>
            <a:endParaRPr lang="ru-RU" sz="11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r>
              <a:rPr lang="ru-RU" sz="1400" dirty="0" smtClean="0"/>
              <a:t>1</a:t>
            </a:r>
            <a:endParaRPr lang="ru-RU" sz="1400" dirty="0"/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1210059"/>
            <a:ext cx="1232097" cy="1282837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473652"/>
            <a:ext cx="918947" cy="1261883"/>
          </a:xfrm>
          <a:prstGeom prst="rect">
            <a:avLst/>
          </a:prstGeom>
          <a:noFill/>
          <a:ln w="19050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44475" y="3748558"/>
            <a:ext cx="8688388" cy="25323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48700" cy="504056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44475" y="1361736"/>
            <a:ext cx="8688388" cy="264828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n>
                <a:solidFill>
                  <a:srgbClr val="0070C0"/>
                </a:solidFill>
              </a:ln>
              <a:solidFill>
                <a:srgbClr val="0070C0"/>
              </a:solidFill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467544" y="12891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588669" y="1459406"/>
            <a:ext cx="1469997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 шаблон текста об информировании родителей через мессенджеры и информационный электронный буклет «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исковичок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467602" y="1052736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855271" y="1064068"/>
            <a:ext cx="1185539" cy="286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896958" y="3797319"/>
            <a:ext cx="19068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5573375" y="3789040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0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 flipH="1">
            <a:off x="2116504" y="4177138"/>
            <a:ext cx="1690811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а-схемы поиска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623284" y="3900140"/>
            <a:ext cx="153601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ы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лан-схема  и информационный стенд с </a:t>
            </a:r>
            <a:r>
              <a:rPr lang="en-US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R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кодом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1999668" y="1678215"/>
            <a:ext cx="219647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иск родителем отсутствующих 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тей в группа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право 2"/>
          <p:cNvSpPr/>
          <p:nvPr/>
        </p:nvSpPr>
        <p:spPr>
          <a:xfrm>
            <a:off x="3746932" y="2126038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>
            <a:off x="3820619" y="4615146"/>
            <a:ext cx="590722" cy="2423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376" name="Picture 20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3187" y="4226220"/>
            <a:ext cx="1665598" cy="1796592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82" name="Picture 2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537" y="5713515"/>
            <a:ext cx="27463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86" name="Picture 2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23" y="1678215"/>
            <a:ext cx="1555091" cy="1894801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395" name="Picture 22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4297" y="1483988"/>
            <a:ext cx="994339" cy="1768732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Рисунок 23" descr="C:\Users\elena\Downloads\IMG_20201126_191535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558086"/>
            <a:ext cx="1299711" cy="1014930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</p:pic>
      <p:pic>
        <p:nvPicPr>
          <p:cNvPr id="25" name="Рисунок 24" descr="C:\Users\elena\Desktop\26-11-2020_18-01-09\IMG-20201126-WA0031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623" y="4177139"/>
            <a:ext cx="1518045" cy="1811014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296863" y="3759598"/>
            <a:ext cx="8669343" cy="259347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30868" y="1249047"/>
            <a:ext cx="8636000" cy="246143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427984" y="1599783"/>
            <a:ext cx="152537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готовлены указатели движений в ДОО и </a:t>
            </a:r>
          </a:p>
          <a:p>
            <a:pPr lvl="0"/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раны –навигаторы групп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332640" y="1281193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6008022" y="1255601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733433" y="3759598"/>
            <a:ext cx="161880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6160314" y="3759599"/>
            <a:ext cx="88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1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1860135" y="4963373"/>
            <a:ext cx="17486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истемы навигации  и удобной логистики в ДОО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210652" y="4223698"/>
            <a:ext cx="162035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 мастер-класс для педагогов ДОО на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ом объединении  Учреждения</a:t>
            </a:r>
          </a:p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10505" y="1666132"/>
            <a:ext cx="18502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лечение сотрудников от выполнения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сновных </a:t>
            </a:r>
          </a:p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нностей  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63" name="Picture 7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501" y="1964398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64" name="Picture 7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501" y="4774664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06" name="Picture 2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3" y="1685925"/>
            <a:ext cx="1642961" cy="174307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09" name="Picture 21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712" y="2199947"/>
            <a:ext cx="1228273" cy="1337733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10" name="Picture 21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8506" y="1393713"/>
            <a:ext cx="1298001" cy="1712913"/>
          </a:xfrm>
          <a:prstGeom prst="rect">
            <a:avLst/>
          </a:prstGeom>
          <a:noFill/>
          <a:ln w="19050">
            <a:solidFill>
              <a:srgbClr val="FF3737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Рисунок 23" descr="C:\Users\elena\Downloads\Screenshot_20201126_195329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5965" y="4159026"/>
            <a:ext cx="2629983" cy="1840875"/>
          </a:xfrm>
          <a:prstGeom prst="rect">
            <a:avLst/>
          </a:prstGeom>
          <a:noFill/>
          <a:ln w="19050">
            <a:solidFill>
              <a:srgbClr val="FA0000"/>
            </a:solidFill>
          </a:ln>
        </p:spPr>
      </p:pic>
      <p:pic>
        <p:nvPicPr>
          <p:cNvPr id="25" name="Рисунок 24" descr="спорить человек 2 иллюстрация штока. иллюстрации насчитывающей ...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70" y="4192553"/>
            <a:ext cx="1526540" cy="16319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233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396318" y="3708895"/>
            <a:ext cx="8636000" cy="2593470"/>
          </a:xfrm>
          <a:prstGeom prst="rect">
            <a:avLst/>
          </a:prstGeom>
          <a:ln w="19050">
            <a:solidFill>
              <a:srgbClr val="FF3737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готовлен путеводитель 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территории ДОО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244475" y="62068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96318" y="1247462"/>
            <a:ext cx="8636000" cy="246143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DA2BF"/>
              </a:buClr>
              <a:buSzPct val="70000"/>
            </a:pPr>
            <a:endParaRPr lang="ru-RU" altLang="ru-RU" sz="1000" b="1" dirty="0">
              <a:solidFill>
                <a:prstClr val="black"/>
              </a:solidFill>
              <a:latin typeface="Franklin Gothic Book"/>
            </a:endParaRPr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296863" y="1249047"/>
            <a:ext cx="1882517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427984" y="1748957"/>
            <a:ext cx="100811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 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332640" y="1281193"/>
            <a:ext cx="1039813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6008022" y="1255601"/>
            <a:ext cx="10398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72743" name="TextBox 24"/>
          <p:cNvSpPr txBox="1">
            <a:spLocks noChangeArrowheads="1"/>
          </p:cNvSpPr>
          <p:nvPr/>
        </p:nvSpPr>
        <p:spPr bwMode="auto">
          <a:xfrm>
            <a:off x="1733433" y="3759598"/>
            <a:ext cx="161880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72748" name="TextBox 29"/>
          <p:cNvSpPr txBox="1">
            <a:spLocks noChangeArrowheads="1"/>
          </p:cNvSpPr>
          <p:nvPr/>
        </p:nvSpPr>
        <p:spPr bwMode="auto">
          <a:xfrm>
            <a:off x="6160314" y="3759599"/>
            <a:ext cx="88752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2</a:t>
            </a:fld>
            <a:endParaRPr lang="ru-RU" sz="1400"/>
          </a:p>
        </p:txBody>
      </p:sp>
      <p:sp>
        <p:nvSpPr>
          <p:cNvPr id="23" name="TextBox 24"/>
          <p:cNvSpPr txBox="1">
            <a:spLocks noChangeArrowheads="1"/>
          </p:cNvSpPr>
          <p:nvPr/>
        </p:nvSpPr>
        <p:spPr bwMode="auto">
          <a:xfrm>
            <a:off x="2001391" y="2407148"/>
            <a:ext cx="17486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информаци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TextBox 17"/>
          <p:cNvSpPr txBox="1">
            <a:spLocks noChangeArrowheads="1"/>
          </p:cNvSpPr>
          <p:nvPr/>
        </p:nvSpPr>
        <p:spPr bwMode="auto">
          <a:xfrm>
            <a:off x="4427984" y="2212994"/>
            <a:ext cx="162035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на деловая игра для старших дошкольников «Юный логист»</a:t>
            </a:r>
          </a:p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110505" y="1804631"/>
            <a:ext cx="124173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263" name="Picture 7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2501" y="1964398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264" name="Picture 7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2453" y="4774664"/>
            <a:ext cx="61595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00" name="Picture 20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626260"/>
            <a:ext cx="1511511" cy="128587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412" name="Picture 22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3307" y="2225875"/>
            <a:ext cx="1622425" cy="1285875"/>
          </a:xfrm>
          <a:prstGeom prst="rect">
            <a:avLst/>
          </a:prstGeom>
          <a:noFill/>
          <a:ln w="19050">
            <a:solidFill>
              <a:srgbClr val="0070C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Рисунок 23" descr="спорить человек 2 иллюстрация штока. иллюстрации насчитывающей ...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51" y="1748957"/>
            <a:ext cx="1526540" cy="163195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872" y="4231739"/>
            <a:ext cx="1858963" cy="1390650"/>
          </a:xfrm>
          <a:prstGeom prst="rect">
            <a:avLst/>
          </a:prstGeom>
          <a:noFill/>
          <a:ln w="19050">
            <a:solidFill>
              <a:srgbClr val="FA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2648958" y="5160724"/>
            <a:ext cx="174860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элементов удобной логистики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9" name="Рисунок 28" descr="C:\Users\elena\Downloads\План схема площадок МБДОУ.pn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1549" y="4400311"/>
            <a:ext cx="1148715" cy="1520825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</p:pic>
      <p:pic>
        <p:nvPicPr>
          <p:cNvPr id="11287" name="Picture 2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6981" y="3898097"/>
            <a:ext cx="1481041" cy="197237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87952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Блок-схема: узел 16"/>
          <p:cNvSpPr/>
          <p:nvPr/>
        </p:nvSpPr>
        <p:spPr>
          <a:xfrm>
            <a:off x="3532188" y="1436688"/>
            <a:ext cx="936625" cy="936625"/>
          </a:xfrm>
          <a:prstGeom prst="flowChartConnector">
            <a:avLst/>
          </a:prstGeom>
          <a:solidFill>
            <a:srgbClr val="FF99FF"/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4</a:t>
            </a:r>
          </a:p>
        </p:txBody>
      </p:sp>
      <p:cxnSp>
        <p:nvCxnSpPr>
          <p:cNvPr id="63" name="Прямая соединительная линия 62"/>
          <p:cNvCxnSpPr>
            <a:endCxn id="17" idx="2"/>
          </p:cNvCxnSpPr>
          <p:nvPr/>
        </p:nvCxnSpPr>
        <p:spPr>
          <a:xfrm>
            <a:off x="2222182" y="1905000"/>
            <a:ext cx="1310006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3663" y="1436689"/>
            <a:ext cx="2200274" cy="889000"/>
          </a:xfrm>
          <a:prstGeom prst="rect">
            <a:avLst/>
          </a:prstGeom>
          <a:solidFill>
            <a:srgbClr val="FF99FF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мещение родителей (законных представителей) во внутреннем и внешнем пространстве ДОО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июнь 2020 г.)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564063" y="1522413"/>
            <a:ext cx="0" cy="5180012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Блок-схема: узел 54"/>
          <p:cNvSpPr/>
          <p:nvPr/>
        </p:nvSpPr>
        <p:spPr>
          <a:xfrm>
            <a:off x="3622675" y="2686050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ru-RU" sz="11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85725" y="2564904"/>
            <a:ext cx="2208212" cy="722809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 родителя за ребёнком на территорию ДОО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Прямая соединительная линия 56"/>
          <p:cNvCxnSpPr>
            <a:endCxn id="55" idx="2"/>
          </p:cNvCxnSpPr>
          <p:nvPr/>
        </p:nvCxnSpPr>
        <p:spPr>
          <a:xfrm flipV="1">
            <a:off x="2293938" y="2986882"/>
            <a:ext cx="1328737" cy="555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 flipH="1">
            <a:off x="158750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  <a:endParaRPr lang="ru-RU" sz="20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Блок-схема: узел 33"/>
          <p:cNvSpPr/>
          <p:nvPr/>
        </p:nvSpPr>
        <p:spPr>
          <a:xfrm>
            <a:off x="3622675" y="3475437"/>
            <a:ext cx="755650" cy="577726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2</a:t>
            </a:r>
            <a:endParaRPr lang="en-US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3663" y="3429001"/>
            <a:ext cx="2200274" cy="683418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иск ребёнка в здании ДОО, мин 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293937" y="3764300"/>
            <a:ext cx="1328738" cy="641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Блок-схема: узел 45"/>
          <p:cNvSpPr/>
          <p:nvPr/>
        </p:nvSpPr>
        <p:spPr>
          <a:xfrm>
            <a:off x="8115300" y="1411809"/>
            <a:ext cx="936625" cy="936625"/>
          </a:xfrm>
          <a:prstGeom prst="flowChartConnector">
            <a:avLst/>
          </a:prstGeom>
          <a:solidFill>
            <a:schemeClr val="accent3">
              <a:lumMod val="60000"/>
              <a:lumOff val="40000"/>
            </a:schemeClr>
          </a:solidFill>
          <a:ln w="127000" cmpd="tri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05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</a:t>
            </a:r>
            <a:endParaRPr lang="ru-RU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7011988" y="1905000"/>
            <a:ext cx="103028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Прямоугольник 47"/>
          <p:cNvSpPr/>
          <p:nvPr/>
        </p:nvSpPr>
        <p:spPr>
          <a:xfrm>
            <a:off x="4670921" y="1467893"/>
            <a:ext cx="2389187" cy="91335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мещение родителей (законных представителей) во внутреннем и внешнем пространстве ДОО</a:t>
            </a:r>
          </a:p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ноябрь 2020 г.)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H="1">
            <a:off x="4664075" y="2470150"/>
            <a:ext cx="4373563" cy="0"/>
          </a:xfrm>
          <a:prstGeom prst="line">
            <a:avLst/>
          </a:prstGeom>
          <a:ln w="2540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Блок-схема: узел 49"/>
          <p:cNvSpPr/>
          <p:nvPr/>
        </p:nvSpPr>
        <p:spPr>
          <a:xfrm>
            <a:off x="8137525" y="2713037"/>
            <a:ext cx="831850" cy="601663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795838" y="2564904"/>
            <a:ext cx="2216150" cy="722809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ход родителя за ребёнком на территорию ДОО,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</a:p>
        </p:txBody>
      </p:sp>
      <p:cxnSp>
        <p:nvCxnSpPr>
          <p:cNvPr id="52" name="Прямая соединительная линия 51"/>
          <p:cNvCxnSpPr>
            <a:endCxn id="50" idx="2"/>
          </p:cNvCxnSpPr>
          <p:nvPr/>
        </p:nvCxnSpPr>
        <p:spPr>
          <a:xfrm flipV="1">
            <a:off x="6996385" y="3013869"/>
            <a:ext cx="1141140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Блок-схема: узел 52"/>
          <p:cNvSpPr/>
          <p:nvPr/>
        </p:nvSpPr>
        <p:spPr>
          <a:xfrm>
            <a:off x="8175625" y="3467820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endParaRPr lang="ru-RU" sz="12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795838" y="3429002"/>
            <a:ext cx="2216150" cy="683418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места нахождения группы с помощью элементов удобной логистики ,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 </a:t>
            </a: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7092950" y="3770711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85724" y="692696"/>
            <a:ext cx="9058275" cy="6164138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467544" y="807650"/>
            <a:ext cx="288032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:</a:t>
            </a:r>
            <a:endParaRPr lang="ru-RU" sz="1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4762673" y="807650"/>
            <a:ext cx="323891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:</a:t>
            </a:r>
            <a:endParaRPr lang="ru-RU" sz="1600" b="1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14300" y="4291013"/>
            <a:ext cx="2179638" cy="650155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е родителя к указанному месту на территории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2293938" y="4581128"/>
            <a:ext cx="1262857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293938" y="5301208"/>
            <a:ext cx="1328737" cy="0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Блок-схема: узел 59"/>
          <p:cNvSpPr/>
          <p:nvPr/>
        </p:nvSpPr>
        <p:spPr>
          <a:xfrm>
            <a:off x="3649291" y="5085183"/>
            <a:ext cx="755650" cy="610767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Блок-схема: узел 60"/>
          <p:cNvSpPr/>
          <p:nvPr/>
        </p:nvSpPr>
        <p:spPr>
          <a:xfrm>
            <a:off x="3622675" y="4280295"/>
            <a:ext cx="755650" cy="601663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 rot="10800000" flipV="1">
            <a:off x="4795838" y="4291012"/>
            <a:ext cx="2216150" cy="590945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е родителя к месту нахождения группы, </a:t>
            </a:r>
            <a:r>
              <a:rPr lang="ru-RU" sz="1200" b="1" dirty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</a:t>
            </a:r>
          </a:p>
        </p:txBody>
      </p:sp>
      <p:sp>
        <p:nvSpPr>
          <p:cNvPr id="67" name="Прямоугольник 66"/>
          <p:cNvSpPr/>
          <p:nvPr/>
        </p:nvSpPr>
        <p:spPr>
          <a:xfrm rot="10800000" flipV="1">
            <a:off x="4795838" y="5085181"/>
            <a:ext cx="2216150" cy="610767"/>
          </a:xfrm>
          <a:prstGeom prst="rect">
            <a:avLst/>
          </a:prstGeom>
          <a:solidFill>
            <a:srgbClr val="DBE6C4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ход домой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1" name="Прямая соединительная линия 70"/>
          <p:cNvCxnSpPr/>
          <p:nvPr/>
        </p:nvCxnSpPr>
        <p:spPr>
          <a:xfrm>
            <a:off x="7104063" y="4571602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>
            <a:off x="7126288" y="5301607"/>
            <a:ext cx="1011237" cy="7937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Блок-схема: узел 78"/>
          <p:cNvSpPr/>
          <p:nvPr/>
        </p:nvSpPr>
        <p:spPr>
          <a:xfrm>
            <a:off x="8175625" y="4994349"/>
            <a:ext cx="793750" cy="613717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endParaRPr lang="ru-RU" sz="11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Блок-схема: узел 79"/>
          <p:cNvSpPr/>
          <p:nvPr/>
        </p:nvSpPr>
        <p:spPr>
          <a:xfrm>
            <a:off x="8137525" y="4232907"/>
            <a:ext cx="793750" cy="611659"/>
          </a:xfrm>
          <a:prstGeom prst="flowChartConnector">
            <a:avLst/>
          </a:prstGeom>
          <a:solidFill>
            <a:srgbClr val="DBE6C4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r>
              <a:rPr lang="ru-RU" sz="11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endParaRPr lang="en-US" sz="14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 rot="10800000" flipV="1">
            <a:off x="158748" y="5093568"/>
            <a:ext cx="2135190" cy="711696"/>
          </a:xfrm>
          <a:prstGeom prst="rect">
            <a:avLst/>
          </a:prstGeom>
          <a:solidFill>
            <a:srgbClr val="FFCCFF"/>
          </a:solidFill>
          <a:ln>
            <a:solidFill>
              <a:srgbClr val="3D8EB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200" b="1" dirty="0" smtClean="0">
                <a:solidFill>
                  <a:srgbClr val="46464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ход домой, мин</a:t>
            </a:r>
            <a:endParaRPr lang="ru-RU" sz="1200" b="1" dirty="0">
              <a:solidFill>
                <a:srgbClr val="46464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6319" y="6370134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13</a:t>
            </a:fld>
            <a:endParaRPr lang="ru-RU" dirty="0">
              <a:solidFill>
                <a:srgbClr val="4BACC6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2348880"/>
            <a:ext cx="1584176" cy="309634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88024" y="1507030"/>
            <a:ext cx="3871173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chemeClr val="accent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:</a:t>
            </a:r>
            <a:r>
              <a:rPr lang="ru-RU" altLang="ru-RU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itchFamily="18" charset="0"/>
              </a:rPr>
              <a:t> </a:t>
            </a:r>
            <a:endParaRPr lang="ru-RU" altLang="ru-RU" b="1" dirty="0" smtClean="0">
              <a:solidFill>
                <a:srgbClr val="FF0000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 smtClean="0">
              <a:solidFill>
                <a:srgbClr val="C00000"/>
              </a:solidFill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кращение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и передвижения родителей (законных представителей) во внутреннем и внешнем пространстве </a:t>
            </a:r>
            <a:r>
              <a:rPr lang="ru-RU" alt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О</a:t>
            </a:r>
            <a:endParaRPr lang="ru-RU" altLang="ru-RU" sz="14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ческий </a:t>
            </a:r>
            <a:r>
              <a:rPr lang="ru-RU" alt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 от разработки лидерской командой макетов элементов удобной </a:t>
            </a:r>
            <a:r>
              <a:rPr lang="ru-RU" altLang="ru-RU" sz="14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огистики</a:t>
            </a: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b="1" dirty="0" smtClean="0">
              <a:solidFill>
                <a:srgbClr val="FA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зультативность  удовлетворенности родителей (законных представителей) элементами удобной логистики  внутреннего и внешнего пространства ДОО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i="1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572000" y="1268760"/>
            <a:ext cx="0" cy="4176464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8897" y="1855922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>
          <a:xfrm>
            <a:off x="6521128" y="3140968"/>
            <a:ext cx="365135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628801"/>
            <a:ext cx="1584176" cy="1656183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385442" y="1855922"/>
            <a:ext cx="136815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7%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331640" y="3573016"/>
            <a:ext cx="144016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18 мин.</a:t>
            </a:r>
            <a:endParaRPr lang="ru-RU" sz="16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отекания процесса</a:t>
            </a:r>
            <a:endParaRPr lang="ru-RU" sz="1600" b="1" dirty="0">
              <a:solidFill>
                <a:schemeClr val="tx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6319" y="6370134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14</a:t>
            </a:fld>
            <a:endParaRPr lang="ru-RU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6595690" y="4459181"/>
            <a:ext cx="372725" cy="432048"/>
          </a:xfrm>
          <a:prstGeom prst="downArrow">
            <a:avLst>
              <a:gd name="adj1" fmla="val 50000"/>
              <a:gd name="adj2" fmla="val 47795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44475" y="3639418"/>
            <a:ext cx="8621712" cy="265263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70210" y="882309"/>
            <a:ext cx="8597230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497412" y="875635"/>
            <a:ext cx="213773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497412" y="3571234"/>
            <a:ext cx="2179674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531791" y="2470028"/>
            <a:ext cx="15382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ерняева </a:t>
            </a:r>
            <a:r>
              <a:rPr lang="ru-RU" altLang="ru-RU" sz="10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талья Евгенье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ий</a:t>
            </a:r>
            <a:endParaRPr lang="ru-RU" altLang="ru-RU" sz="1000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531791" y="914986"/>
            <a:ext cx="1538288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чик проекта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6122761" y="2455960"/>
            <a:ext cx="179037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кина Елена Владими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667712" y="914986"/>
            <a:ext cx="2216656" cy="1692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100" b="1" kern="0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проекта </a:t>
            </a:r>
            <a:endParaRPr lang="en-US" altLang="ru-RU" sz="1100" b="1" kern="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829988" y="5626676"/>
            <a:ext cx="1272333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ведева Татьяна Николаевна, воспитатель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4837151" y="5575512"/>
            <a:ext cx="1462088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урнеску</a:t>
            </a: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Татьяна Васильевна,</a:t>
            </a:r>
            <a:endParaRPr lang="ru-RU" altLang="ru-RU" sz="1000" b="1" kern="0" dirty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татель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2756547" y="5609545"/>
            <a:ext cx="1501850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нькова</a:t>
            </a: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Зоя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кто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>
                <a:solidFill>
                  <a:schemeClr val="tx2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спиоровтатель</a:t>
            </a:r>
            <a:endParaRPr lang="ru-RU" altLang="ru-RU" sz="1000" kern="0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4029" y="1138081"/>
            <a:ext cx="928737" cy="12781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194" y="4061361"/>
            <a:ext cx="998549" cy="14971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053" y="1136518"/>
            <a:ext cx="940578" cy="127675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412" y="1382468"/>
            <a:ext cx="2137739" cy="145598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3356" y="4061361"/>
            <a:ext cx="956869" cy="146399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65385" y="3799035"/>
            <a:ext cx="1664702" cy="211290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883054" y="5534813"/>
            <a:ext cx="1499746" cy="579170"/>
          </a:xfrm>
          <a:prstGeom prst="rect">
            <a:avLst/>
          </a:prstGeom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192" y="4031563"/>
            <a:ext cx="1137471" cy="1493795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786182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72330" y="1571612"/>
            <a:ext cx="61504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 </a:t>
            </a:r>
            <a:r>
              <a:rPr lang="ru-RU" sz="900" b="1" dirty="0" smtClean="0">
                <a:solidFill>
                  <a:prstClr val="white"/>
                </a:solidFill>
              </a:rPr>
              <a:t>5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000232" y="1500174"/>
            <a:ext cx="503238" cy="3464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571612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576063"/>
          </a:xfrm>
        </p:spPr>
        <p:txBody>
          <a:bodyPr/>
          <a:lstStyle/>
          <a:p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</a:t>
            </a: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еремещения родителей (законных представителей) во внутреннем и внешнем пространстве ДОО за счёт внедрения элементов удобной логистики»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                       24.06.2020 года</a:t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072198" y="285728"/>
            <a:ext cx="2614602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3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059832" y="2462761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4803636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437882" y="6165304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-34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66" y="65722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455970" y="5157192"/>
            <a:ext cx="56880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cs typeface="Arial" pitchFamily="34" charset="0"/>
              </a:rPr>
              <a:t>Отсутствие детей  на месте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/>
                <a:cs typeface="Times New Roman" panose="02020603050405020304" pitchFamily="18" charset="0"/>
              </a:rPr>
              <a:t>2.   Отсутствие системы поиска</a:t>
            </a:r>
            <a:endParaRPr lang="ru-RU" sz="12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  Временные потер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.   Отсутствие информаци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.   Отсутствие элементов удобной логистики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547664" y="246386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16748" y="2009243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ХОД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821551" y="3580179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ЫХОД</a:t>
            </a:r>
            <a:endParaRPr lang="ru-RU" b="1" dirty="0">
              <a:solidFill>
                <a:prstClr val="white"/>
              </a:solidFill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/>
          </p:nvPr>
        </p:nvGraphicFramePr>
        <p:xfrm>
          <a:off x="1954055" y="1919399"/>
          <a:ext cx="1105777" cy="140044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05777"/>
              </a:tblGrid>
              <a:tr h="267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дёт  в здание  ДОО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/>
          </p:nvPr>
        </p:nvGraphicFramePr>
        <p:xfrm>
          <a:off x="3496268" y="1931975"/>
          <a:ext cx="1279343" cy="141911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9343"/>
              </a:tblGrid>
              <a:tr h="2107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723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правляется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групп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-6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/>
          </p:nvPr>
        </p:nvGraphicFramePr>
        <p:xfrm>
          <a:off x="6781819" y="1954804"/>
          <a:ext cx="1246565" cy="140218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46565"/>
              </a:tblGrid>
              <a:tr h="2301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54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ращается к сотруднику за помощью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-7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/>
          </p:nvPr>
        </p:nvGraphicFramePr>
        <p:xfrm>
          <a:off x="367372" y="1908587"/>
          <a:ext cx="1219422" cy="144604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19422"/>
              </a:tblGrid>
              <a:tr h="2401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r>
                        <a:rPr lang="ru-RU" sz="95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840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за ребёнком </a:t>
                      </a:r>
                      <a:r>
                        <a:rPr kumimoji="0" lang="ru-RU" sz="9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площадк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6" name="Таблица 55"/>
          <p:cNvGraphicFramePr>
            <a:graphicFrameLocks noGrp="1"/>
          </p:cNvGraphicFramePr>
          <p:nvPr>
            <p:extLst/>
          </p:nvPr>
        </p:nvGraphicFramePr>
        <p:xfrm>
          <a:off x="5156067" y="1961244"/>
          <a:ext cx="1277466" cy="140905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42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46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щет информацию о месте  нахождения детей на стенд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ля родителей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-6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9" name="Стрелка вправо 58"/>
          <p:cNvSpPr/>
          <p:nvPr/>
        </p:nvSpPr>
        <p:spPr>
          <a:xfrm>
            <a:off x="6429388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429256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4</a:t>
            </a:r>
          </a:p>
        </p:txBody>
      </p:sp>
      <p:sp>
        <p:nvSpPr>
          <p:cNvPr id="61" name="Пятно 1 60"/>
          <p:cNvSpPr/>
          <p:nvPr/>
        </p:nvSpPr>
        <p:spPr>
          <a:xfrm>
            <a:off x="2768527" y="2775235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2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1214414" y="2857496"/>
            <a:ext cx="468922" cy="506411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1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7" name="Пятно 1 56"/>
          <p:cNvSpPr/>
          <p:nvPr/>
        </p:nvSpPr>
        <p:spPr>
          <a:xfrm>
            <a:off x="6179355" y="2857495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5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29" name="Пятно 1 28"/>
          <p:cNvSpPr/>
          <p:nvPr/>
        </p:nvSpPr>
        <p:spPr>
          <a:xfrm>
            <a:off x="6029319" y="3207836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>
            <p:extLst/>
          </p:nvPr>
        </p:nvGraphicFramePr>
        <p:xfrm>
          <a:off x="906158" y="3661712"/>
          <a:ext cx="1304528" cy="142347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04528"/>
              </a:tblGrid>
              <a:tr h="6313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0405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щет ребёнка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территории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88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4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2" name="Стрелка вправо 31"/>
          <p:cNvSpPr/>
          <p:nvPr/>
        </p:nvSpPr>
        <p:spPr>
          <a:xfrm>
            <a:off x="2251851" y="4040477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33" name="Таблица 32"/>
          <p:cNvGraphicFramePr>
            <a:graphicFrameLocks noGrp="1"/>
          </p:cNvGraphicFramePr>
          <p:nvPr>
            <p:extLst/>
          </p:nvPr>
        </p:nvGraphicFramePr>
        <p:xfrm>
          <a:off x="2719258" y="3661711"/>
          <a:ext cx="1304528" cy="1411818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04528"/>
              </a:tblGrid>
              <a:tr h="6049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305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ходит ребё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763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4" name="Стрелка вправо 33"/>
          <p:cNvSpPr/>
          <p:nvPr/>
        </p:nvSpPr>
        <p:spPr>
          <a:xfrm>
            <a:off x="4046654" y="4040622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/>
          </p:nvPr>
        </p:nvGraphicFramePr>
        <p:xfrm>
          <a:off x="4503803" y="3619564"/>
          <a:ext cx="1304528" cy="1420517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304528"/>
              </a:tblGrid>
              <a:tr h="26837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,</a:t>
                      </a:r>
                    </a:p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ребёнок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50209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ходят домой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6309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36" name="Стрелка вправо 35"/>
          <p:cNvSpPr/>
          <p:nvPr/>
        </p:nvSpPr>
        <p:spPr>
          <a:xfrm>
            <a:off x="455592" y="4071331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8" name="Стрелка вправо 37"/>
          <p:cNvSpPr/>
          <p:nvPr/>
        </p:nvSpPr>
        <p:spPr>
          <a:xfrm>
            <a:off x="8028384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34751" y="345548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6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560365" y="345548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7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298811" y="3457869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</a:t>
            </a:r>
            <a:r>
              <a:rPr lang="ru-RU" sz="900" b="1" dirty="0" smtClean="0">
                <a:solidFill>
                  <a:prstClr val="white"/>
                </a:solidFill>
              </a:rPr>
              <a:t>8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44" name="Пятно 1 43"/>
          <p:cNvSpPr/>
          <p:nvPr/>
        </p:nvSpPr>
        <p:spPr>
          <a:xfrm>
            <a:off x="3380994" y="2857495"/>
            <a:ext cx="468922" cy="506411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1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45" name="Пятно 1 44"/>
          <p:cNvSpPr/>
          <p:nvPr/>
        </p:nvSpPr>
        <p:spPr>
          <a:xfrm>
            <a:off x="7729341" y="2760904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3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47" name="Пятно 1 46"/>
          <p:cNvSpPr/>
          <p:nvPr/>
        </p:nvSpPr>
        <p:spPr>
          <a:xfrm>
            <a:off x="5076056" y="3035375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3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48" name="Пятно 1 47"/>
          <p:cNvSpPr/>
          <p:nvPr/>
        </p:nvSpPr>
        <p:spPr>
          <a:xfrm>
            <a:off x="739510" y="4530666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4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1962053" y="4438515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5</a:t>
            </a:r>
            <a:endParaRPr lang="ru-RU" sz="11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22768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179512" y="1124744"/>
            <a:ext cx="8686800" cy="550863"/>
          </a:xfrm>
        </p:spPr>
        <p:txBody>
          <a:bodyPr/>
          <a:lstStyle/>
          <a:p>
            <a:pPr eaLnBrk="1" hangingPunct="1"/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429375"/>
            <a:ext cx="347662" cy="285750"/>
          </a:xfrm>
        </p:spPr>
        <p:txBody>
          <a:bodyPr/>
          <a:lstStyle/>
          <a:p>
            <a:pPr algn="ctr">
              <a:defRPr/>
            </a:pPr>
            <a:fld id="{0B9B24B0-89E8-4502-86ED-BC2F7D391267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950" y="404813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  <a:br>
              <a:rPr lang="ru-RU" sz="20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Схема 13"/>
          <p:cNvGraphicFramePr/>
          <p:nvPr>
            <p:extLst/>
          </p:nvPr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1" name="Пятно 1 10"/>
          <p:cNvSpPr/>
          <p:nvPr/>
        </p:nvSpPr>
        <p:spPr>
          <a:xfrm>
            <a:off x="1763688" y="5496302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2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929058" y="3929066"/>
            <a:ext cx="1435030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8064A2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007461" y="1844824"/>
            <a:ext cx="1502479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srgbClr val="8064A2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выявлены</a:t>
            </a:r>
          </a:p>
        </p:txBody>
      </p:sp>
      <p:sp>
        <p:nvSpPr>
          <p:cNvPr id="17" name="Пятно 1 16"/>
          <p:cNvSpPr/>
          <p:nvPr/>
        </p:nvSpPr>
        <p:spPr>
          <a:xfrm>
            <a:off x="852473" y="5314561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1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2699792" y="5241511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3</a:t>
            </a:r>
          </a:p>
        </p:txBody>
      </p:sp>
      <p:sp>
        <p:nvSpPr>
          <p:cNvPr id="12" name="Пятно 1 11"/>
          <p:cNvSpPr/>
          <p:nvPr/>
        </p:nvSpPr>
        <p:spPr>
          <a:xfrm>
            <a:off x="3479544" y="5594736"/>
            <a:ext cx="449514" cy="461916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>
                <a:solidFill>
                  <a:prstClr val="white"/>
                </a:solidFill>
              </a:rPr>
              <a:t>4</a:t>
            </a:r>
          </a:p>
        </p:txBody>
      </p:sp>
      <p:sp>
        <p:nvSpPr>
          <p:cNvPr id="13" name="Пятно 1 12"/>
          <p:cNvSpPr/>
          <p:nvPr/>
        </p:nvSpPr>
        <p:spPr>
          <a:xfrm>
            <a:off x="4468773" y="5265344"/>
            <a:ext cx="481826" cy="5603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dirty="0" smtClean="0">
                <a:solidFill>
                  <a:prstClr val="white"/>
                </a:solidFill>
              </a:rPr>
              <a:t>5</a:t>
            </a:r>
            <a:endParaRPr lang="ru-RU" sz="1100" b="1" dirty="0">
              <a:solidFill>
                <a:prstClr val="white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5429224" y="4413601"/>
            <a:ext cx="37147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ей  на месте</a:t>
            </a:r>
          </a:p>
          <a:p>
            <a:pPr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системы поиска</a:t>
            </a:r>
          </a:p>
          <a:p>
            <a:pPr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енные потери</a:t>
            </a:r>
          </a:p>
          <a:p>
            <a:pPr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ации</a:t>
            </a:r>
          </a:p>
          <a:p>
            <a:pPr indent="-2286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2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сутствие </a:t>
            </a:r>
            <a:r>
              <a:rPr lang="ru-RU" sz="12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ементов удобной логистики</a:t>
            </a:r>
          </a:p>
          <a:p>
            <a:pPr marL="228600" indent="-2286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2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Tx/>
              <a:buAutoNum type="arabicPeriod" startAt="2"/>
            </a:pPr>
            <a:endParaRPr lang="ru-RU" sz="12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29847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620688"/>
            <a:ext cx="7931224" cy="5505476"/>
          </a:xfrm>
        </p:spPr>
        <p:txBody>
          <a:bodyPr/>
          <a:lstStyle/>
          <a:p>
            <a:pPr marL="0" lvl="0" indent="0" algn="ctr" eaLnBrk="1" fontAlgn="auto" hangingPunct="1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600" b="1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блем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889248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</a:t>
            </a: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ь (описание ситуации «КАК ЕСТЬ»)                                          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</a:t>
            </a:r>
            <a:r>
              <a:rPr lang="ru-RU" sz="1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 проблем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35496" y="692696"/>
          <a:ext cx="8856984" cy="6131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4216"/>
                <a:gridCol w="2304256"/>
                <a:gridCol w="2664296"/>
                <a:gridCol w="194421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блем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вопричины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ше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клад в достижение цел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тсутствие детей на мест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блюде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ежимных моментов</a:t>
                      </a:r>
                    </a:p>
                    <a:p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Оповещение воспитателем родителей через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мессенджеры о месте нахождения детей.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Разработка информационного электронного буклета для родителей «Поисковичок».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родителей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(законных представителей) на поиск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Отсутствие плана-схемы поиск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овь выявленная потребность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Разработка системы поиска во внутреннем и внешнем пространстве ДОО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Размещение информации, закодированной в </a:t>
                      </a: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QR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кодах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положительного психологического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моционального фона 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 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ей (законных представителей)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Временные потер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ая информированность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родителей (законных представителей)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Разработка макетов указателей движения в ДОО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Разработка макета  и установка «Экрана – навигатора группы».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родителей (законных представителей) на поиск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количества участников процесса</a:t>
                      </a:r>
                      <a:endParaRPr kumimoji="0" lang="ru-RU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Отсутствие информаци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соответствие тенденциям времен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Внедре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визуальных 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мволов-жетонов.</a:t>
                      </a:r>
                    </a:p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Разработка системы пространственной навигации в ДОО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влечение детей к разработке эскизов</a:t>
                      </a: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мволов-жетонов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Отсутствие элементов удобной логистики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достаточная информированность сотрудников об обеспечении  логистики внутреннего внешнего пространства ДОО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Разработка макета и установка 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«Путеводителя по территории МБДОУ «Детский сад </a:t>
                      </a:r>
                      <a:r>
                        <a:rPr lang="ru-RU" sz="12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.Терновка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Установка навигационного столба.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довлетворение</a:t>
                      </a:r>
                      <a:r>
                        <a:rPr lang="ru-RU" sz="12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требности родителей (законных представителей)</a:t>
                      </a:r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endParaRPr lang="ru-RU" sz="12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иск фирмы-изготовител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61637774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18058"/>
          </a:xfrm>
        </p:spPr>
        <p:txBody>
          <a:bodyPr/>
          <a:lstStyle/>
          <a:p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азработка плана мероприятий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endParaRPr lang="ru-RU" sz="1400" dirty="0"/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  <p:extLst/>
          </p:nvPr>
        </p:nvGraphicFramePr>
        <p:xfrm>
          <a:off x="107504" y="679356"/>
          <a:ext cx="9001000" cy="4979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2"/>
                <a:gridCol w="4200363"/>
                <a:gridCol w="2177827"/>
                <a:gridCol w="980961"/>
                <a:gridCol w="1181857"/>
              </a:tblGrid>
              <a:tr h="43126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роприятие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ветственный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начала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окончания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</a:tr>
              <a:tr h="61995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дготовка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шаблона текста об информировании родителей (законных представителей) через мессенджеры  о месте нахождения детей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Пенькова</a:t>
                      </a: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З.В., воспитатель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3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4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59515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информационного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электронного буклета для родителей (законных представителей) «Поисковичок»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Осокина</a:t>
                      </a: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Е.В., 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рший воспитатель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Медведева Т.Н., воспитатель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3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7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8424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Разработка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 план-схемы 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иска во внутреннем и внешнем пространстве ДОО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Литовченко</a:t>
                      </a: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А.В., воспитатель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aseline="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Дурнеску</a:t>
                      </a:r>
                      <a:r>
                        <a:rPr lang="ru-RU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Т.В., воспитатель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3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4.08.2020</a:t>
                      </a:r>
                    </a:p>
                  </a:txBody>
                  <a:tcPr marL="68580" marR="68580" marT="0" marB="0"/>
                </a:tc>
              </a:tr>
              <a:tr h="38083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Разработка 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и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размещение информации, закодированной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в </a:t>
                      </a:r>
                      <a:r>
                        <a:rPr lang="en-US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QR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-кодах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Пенькова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 З.В., воспитател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Литовченко А.В., воспитатель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7.08.202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6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58761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Создание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макетов указателей движения в ДОО</a:t>
                      </a: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Медведева Т.Н., воспитатель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1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41669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Разработка макета и установка </a:t>
                      </a: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«Экрана-навигатора группы» в помещении ДОО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Пенькова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 З.В., воспитател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Дурнеску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 Т.В., воспитатель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9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08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Мастер-класс для педагогов «Внедрение визуальных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имволов-жетонов в систему пространственной навигации ДОО»  на  МО ДОО №1 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/>
                          <a:ea typeface="Times New Roman"/>
                          <a:cs typeface="Times New Roman"/>
                        </a:rPr>
                        <a:t>Медведева Т.Н., воспитатель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.09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.09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08789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Разработка и проведение деловой игры для старших дошкольников «Юный логист»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Литовченко А.В., воспитатель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5.09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5.10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Разработка макета и установка «Путеводителя по территории МБДОУ «Детский сад </a:t>
                      </a:r>
                      <a:r>
                        <a:rPr kumimoji="0" lang="ru-RU" sz="11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с.Терновка</a:t>
                      </a: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»»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Черняева Н.Е., заведующи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оманда картирования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8.09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10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60040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одготовка и установка навигационного столба  на территории ДОО</a:t>
                      </a:r>
                      <a:endParaRPr kumimoji="0" lang="ru-RU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Черняева Н.Е., заведующи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оманда картирован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07.10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2.10.2020</a:t>
                      </a:r>
                      <a:endParaRPr lang="ru-RU" sz="1100" dirty="0"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B3CBC3-7457-4C0F-B76F-C1DD2B9B562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76562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786182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72330" y="1571612"/>
            <a:ext cx="61504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 </a:t>
            </a:r>
            <a:r>
              <a:rPr lang="ru-RU" sz="900" b="1" dirty="0" smtClean="0">
                <a:solidFill>
                  <a:prstClr val="white"/>
                </a:solidFill>
              </a:rPr>
              <a:t>5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000232" y="1500174"/>
            <a:ext cx="503238" cy="3464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571612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576063"/>
          </a:xfrm>
        </p:spPr>
        <p:txBody>
          <a:bodyPr/>
          <a:lstStyle/>
          <a:p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идеального состояния процесса</a:t>
            </a: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еремещения родителей (законных представителей) во внутреннем и внешнем пространстве ДОО за счёт внедрения элементов удобной логистики»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                       29.06.2020 года</a:t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072198" y="285728"/>
            <a:ext cx="2614602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3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059832" y="2462761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4803636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437882" y="6165304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-12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66" y="65722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455970" y="5157192"/>
            <a:ext cx="5688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547664" y="246386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/>
          </p:nvPr>
        </p:nvGraphicFramePr>
        <p:xfrm>
          <a:off x="1954055" y="1919399"/>
          <a:ext cx="1105777" cy="1725625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05777"/>
              </a:tblGrid>
              <a:tr h="5819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82886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Заходит  в здание 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480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/>
          </p:nvPr>
        </p:nvGraphicFramePr>
        <p:xfrm>
          <a:off x="3496268" y="1931975"/>
          <a:ext cx="1279343" cy="1743717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9343"/>
              </a:tblGrid>
              <a:tr h="50930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820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учает   информацией о месте нахождения  группы на электронном навигаторе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111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/>
          </p:nvPr>
        </p:nvGraphicFramePr>
        <p:xfrm>
          <a:off x="6781819" y="1954804"/>
          <a:ext cx="1246565" cy="154696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46565"/>
              </a:tblGrid>
              <a:tr h="2301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, ребёнок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54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ходят домой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/>
          </p:nvPr>
        </p:nvGraphicFramePr>
        <p:xfrm>
          <a:off x="367372" y="1908587"/>
          <a:ext cx="1219422" cy="166443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19422"/>
              </a:tblGrid>
              <a:tr h="5426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r>
                        <a:rPr lang="ru-RU" sz="95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8779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за ребёнком </a:t>
                      </a:r>
                      <a:endParaRPr kumimoji="0" lang="ru-RU" sz="900" b="1" kern="1200" baseline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438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6" name="Таблица 55"/>
          <p:cNvGraphicFramePr>
            <a:graphicFrameLocks noGrp="1"/>
          </p:cNvGraphicFramePr>
          <p:nvPr>
            <p:extLst/>
          </p:nvPr>
        </p:nvGraphicFramePr>
        <p:xfrm>
          <a:off x="5156067" y="1961245"/>
          <a:ext cx="1277466" cy="1719169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4903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81141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ходит ребё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38197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9" name="Стрелка вправо 58"/>
          <p:cNvSpPr/>
          <p:nvPr/>
        </p:nvSpPr>
        <p:spPr>
          <a:xfrm>
            <a:off x="6429388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429256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3469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786182" y="157161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3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72330" y="1571612"/>
            <a:ext cx="615047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 </a:t>
            </a:r>
            <a:r>
              <a:rPr lang="ru-RU" sz="900" b="1" dirty="0" smtClean="0">
                <a:solidFill>
                  <a:prstClr val="white"/>
                </a:solidFill>
              </a:rPr>
              <a:t>5</a:t>
            </a:r>
            <a:endParaRPr lang="ru-RU" sz="900" b="1" dirty="0">
              <a:solidFill>
                <a:prstClr val="white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000232" y="1500174"/>
            <a:ext cx="503238" cy="3464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57158" y="1571612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1</a:t>
            </a:r>
          </a:p>
        </p:txBody>
      </p:sp>
      <p:sp>
        <p:nvSpPr>
          <p:cNvPr id="14344" name="Заголовок 1"/>
          <p:cNvSpPr>
            <a:spLocks noGrp="1"/>
          </p:cNvSpPr>
          <p:nvPr>
            <p:ph type="title"/>
          </p:nvPr>
        </p:nvSpPr>
        <p:spPr>
          <a:xfrm>
            <a:off x="0" y="764705"/>
            <a:ext cx="9144000" cy="576063"/>
          </a:xfrm>
        </p:spPr>
        <p:txBody>
          <a:bodyPr/>
          <a:lstStyle/>
          <a:p>
            <a:r>
              <a:rPr lang="ru-RU" sz="1400" b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целевого состояния процесса</a:t>
            </a:r>
            <a: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«Оптимизация процесса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еремещения родителей (законных представителей) во внутреннем и внешнем пространстве ДОО за счёт внедрения элементов удобной логистики»</a:t>
            </a:r>
            <a:br>
              <a:rPr lang="ru-RU" sz="1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                                                                                                                               03.07.2020 года</a:t>
            </a:r>
            <a:b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400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dirty="0" smtClean="0"/>
              <a:t/>
            </a:r>
            <a:br>
              <a:rPr lang="ru-RU" sz="1400" dirty="0" smtClean="0"/>
            </a:br>
            <a:endParaRPr lang="ru-RU" sz="1400" b="1" dirty="0" smtClean="0">
              <a:solidFill>
                <a:schemeClr val="tx2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6072198" y="285728"/>
            <a:ext cx="2614602" cy="575345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3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13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трелка вправо 22"/>
          <p:cNvSpPr/>
          <p:nvPr/>
        </p:nvSpPr>
        <p:spPr>
          <a:xfrm>
            <a:off x="3059832" y="2462761"/>
            <a:ext cx="42704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26" name="Стрелка вправо 25"/>
          <p:cNvSpPr/>
          <p:nvPr/>
        </p:nvSpPr>
        <p:spPr>
          <a:xfrm>
            <a:off x="4803636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437882" y="6165304"/>
            <a:ext cx="371044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 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ремя протекания процесса) </a:t>
            </a:r>
            <a:r>
              <a:rPr lang="ru-RU" sz="12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-16 мин.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66" y="6572250"/>
            <a:ext cx="347662" cy="285750"/>
          </a:xfrm>
        </p:spPr>
        <p:txBody>
          <a:bodyPr/>
          <a:lstStyle/>
          <a:p>
            <a:pPr algn="ctr">
              <a:defRPr/>
            </a:pPr>
            <a:fld id="{F4FBE110-AE23-447E-BC5E-ACA3261C4DB1}" type="slidenum">
              <a:rPr lang="ru-RU" b="1">
                <a:solidFill>
                  <a:srgbClr val="4BACC6">
                    <a:lumMod val="50000"/>
                  </a:srgbClr>
                </a:solidFill>
              </a:rPr>
              <a:pPr algn="ctr">
                <a:defRPr/>
              </a:pPr>
              <a:t>8</a:t>
            </a:fld>
            <a:endParaRPr lang="ru-RU" b="1" dirty="0">
              <a:solidFill>
                <a:srgbClr val="4BACC6">
                  <a:lumMod val="50000"/>
                </a:srgbClr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979347" y="4834027"/>
            <a:ext cx="1859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1547664" y="2463864"/>
            <a:ext cx="406391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16748" y="2009243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ХОД</a:t>
            </a:r>
            <a:endParaRPr lang="ru-RU" b="1" dirty="0">
              <a:solidFill>
                <a:prstClr val="white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8344296" y="1922577"/>
            <a:ext cx="288032" cy="151216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prstClr val="white"/>
                </a:solidFill>
              </a:rPr>
              <a:t>ВЫХОД</a:t>
            </a:r>
            <a:endParaRPr lang="ru-RU" b="1" dirty="0">
              <a:solidFill>
                <a:prstClr val="white"/>
              </a:solidFill>
            </a:endParaRPr>
          </a:p>
        </p:txBody>
      </p:sp>
      <p:graphicFrame>
        <p:nvGraphicFramePr>
          <p:cNvPr id="78" name="Таблица 77"/>
          <p:cNvGraphicFramePr>
            <a:graphicFrameLocks noGrp="1"/>
          </p:cNvGraphicFramePr>
          <p:nvPr>
            <p:extLst/>
          </p:nvPr>
        </p:nvGraphicFramePr>
        <p:xfrm>
          <a:off x="1954055" y="1919399"/>
          <a:ext cx="1105777" cy="1400440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105777"/>
              </a:tblGrid>
              <a:tr h="2672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36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дходит к путеводителю по территории ДОО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Таблица 78"/>
          <p:cNvGraphicFramePr>
            <a:graphicFrameLocks noGrp="1"/>
          </p:cNvGraphicFramePr>
          <p:nvPr>
            <p:extLst/>
          </p:nvPr>
        </p:nvGraphicFramePr>
        <p:xfrm>
          <a:off x="3496268" y="1931975"/>
          <a:ext cx="1279343" cy="1419112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9343"/>
              </a:tblGrid>
              <a:tr h="2107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723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дёт к месту нахождения ребё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7080267"/>
              </p:ext>
            </p:extLst>
          </p:nvPr>
        </p:nvGraphicFramePr>
        <p:xfrm>
          <a:off x="6781819" y="1954804"/>
          <a:ext cx="1534597" cy="1409806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534597"/>
              </a:tblGrid>
              <a:tr h="2301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</a:t>
                      </a: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,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бёнок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542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ходят домой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-3 мин</a:t>
                      </a:r>
                      <a:endParaRPr kumimoji="0" lang="ru-RU" sz="9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Таблица 39"/>
          <p:cNvGraphicFramePr>
            <a:graphicFrameLocks noGrp="1"/>
          </p:cNvGraphicFramePr>
          <p:nvPr>
            <p:extLst/>
          </p:nvPr>
        </p:nvGraphicFramePr>
        <p:xfrm>
          <a:off x="367372" y="1908587"/>
          <a:ext cx="1219422" cy="144604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19422"/>
              </a:tblGrid>
              <a:tr h="24011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>
                        <a:defRPr/>
                      </a:pP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</a:t>
                      </a:r>
                      <a:r>
                        <a:rPr lang="ru-RU" sz="950" b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95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840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endParaRPr kumimoji="0" lang="ru-RU" sz="900" b="1" kern="1200" baseline="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kumimoji="0" lang="ru-RU" sz="900" b="1" kern="1200" baseline="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иходит за ребёнком </a:t>
                      </a:r>
                      <a:r>
                        <a:rPr kumimoji="0" lang="ru-RU" sz="900" b="1" kern="12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 площадку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5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-2  </a:t>
                      </a:r>
                      <a:r>
                        <a:rPr lang="ru-RU" sz="95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5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6310526"/>
              </p:ext>
            </p:extLst>
          </p:nvPr>
        </p:nvGraphicFramePr>
        <p:xfrm>
          <a:off x="5156067" y="1961244"/>
          <a:ext cx="1277466" cy="1409053"/>
        </p:xfrm>
        <a:graphic>
          <a:graphicData uri="http://schemas.openxmlformats.org/drawingml/2006/table">
            <a:tbl>
              <a:tblPr firstRow="1" bandRow="1">
                <a:gradFill rotWithShape="1">
                  <a:gsLst>
                    <a:gs pos="0">
                      <a:srgbClr val="2DA2BF">
                        <a:tint val="30000"/>
                        <a:satMod val="250000"/>
                      </a:srgbClr>
                    </a:gs>
                    <a:gs pos="72000">
                      <a:srgbClr val="2DA2BF">
                        <a:tint val="75000"/>
                        <a:satMod val="210000"/>
                      </a:srgbClr>
                    </a:gs>
                    <a:gs pos="100000">
                      <a:srgbClr val="2DA2BF">
                        <a:tint val="85000"/>
                        <a:satMod val="210000"/>
                      </a:srgbClr>
                    </a:gs>
                  </a:gsLst>
                  <a:lin ang="5400000" scaled="1"/>
                </a:gradFill>
                <a:effectLst>
                  <a:outerShdw blurRad="76200" dist="50800" dir="5400000" rotWithShape="0">
                    <a:srgbClr val="4E3B30">
                      <a:alpha val="60000"/>
                    </a:srgbClr>
                  </a:outerShdw>
                </a:effectLst>
              </a:tblPr>
              <a:tblGrid>
                <a:gridCol w="1277466"/>
              </a:tblGrid>
              <a:tr h="242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дитель  (законный представитель)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25400" cap="flat" cmpd="sng" algn="ctr">
                      <a:solidFill>
                        <a:sysClr val="window" lastClr="FFFFF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A2BF">
                        <a:lumMod val="20000"/>
                        <a:lumOff val="80000"/>
                      </a:srgbClr>
                    </a:solidFill>
                  </a:tcPr>
                </a:tc>
              </a:tr>
              <a:tr h="6546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Находит ребёнка</a:t>
                      </a: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25400" cap="flat" cmpd="sng" algn="ctr">
                      <a:solidFill>
                        <a:sysClr val="window" lastClr="FFFFF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B641B">
                        <a:lumMod val="40000"/>
                        <a:lumOff val="60000"/>
                      </a:srgbClr>
                    </a:solidFill>
                  </a:tcPr>
                </a:tc>
              </a:tr>
              <a:tr h="2160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Franklin Gothic Book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ru-RU" sz="900" b="1" baseline="0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-5 </a:t>
                      </a:r>
                      <a:r>
                        <a:rPr lang="ru-RU" sz="900" b="1" dirty="0" smtClean="0">
                          <a:solidFill>
                            <a:srgbClr val="00206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</a:t>
                      </a:r>
                      <a:endParaRPr lang="ru-RU" sz="9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lnL w="10000" cap="flat" cmpd="sng" algn="ctr">
                      <a:solidFill>
                        <a:srgbClr val="2DA2BF"/>
                      </a:solidFill>
                      <a:prstDash val="solid"/>
                    </a:lnL>
                    <a:lnR w="10000" cap="flat" cmpd="sng" algn="ctr">
                      <a:solidFill>
                        <a:srgbClr val="2DA2BF"/>
                      </a:solidFill>
                      <a:prstDash val="solid"/>
                    </a:lnR>
                    <a:lnT w="10000" cap="flat" cmpd="sng" algn="ctr">
                      <a:solidFill>
                        <a:srgbClr val="2DA2BF"/>
                      </a:solidFill>
                      <a:prstDash val="solid"/>
                    </a:lnT>
                    <a:lnB w="10000" cap="flat" cmpd="sng" algn="ctr">
                      <a:solidFill>
                        <a:srgbClr val="2DA2BF"/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</a:tr>
            </a:tbl>
          </a:graphicData>
        </a:graphic>
      </p:graphicFrame>
      <p:sp>
        <p:nvSpPr>
          <p:cNvPr id="59" name="Стрелка вправо 58"/>
          <p:cNvSpPr/>
          <p:nvPr/>
        </p:nvSpPr>
        <p:spPr>
          <a:xfrm>
            <a:off x="6429388" y="2440964"/>
            <a:ext cx="352431" cy="21431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white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5232263" y="1601892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prstClr val="white"/>
                </a:solidFill>
              </a:rPr>
              <a:t>ШАГ 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7134229" y="332656"/>
            <a:ext cx="15422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4369357" y="6165304"/>
            <a:ext cx="137049" cy="1917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90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47332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92026" y="188640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326847" y="1030486"/>
            <a:ext cx="8636000" cy="5125928"/>
          </a:xfrm>
          <a:prstGeom prst="rect">
            <a:avLst/>
          </a:prstGeom>
          <a:ln w="19050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491914" y="1040239"/>
            <a:ext cx="1543419" cy="340519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491914" y="3663424"/>
            <a:ext cx="2098675" cy="249299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рани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излишнее перемещение родителей во время прихода за детьми из-за отсутствия элементов удобной логистики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>
              <a:defRPr/>
            </a:pP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*ситуации недопонимания между сотрудниками и родителями </a:t>
            </a:r>
            <a:endParaRPr lang="ru-RU" sz="12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endParaRPr lang="ru-RU" sz="1200" dirty="0" smtClean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3245371" y="3717032"/>
            <a:ext cx="237906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ировали</a:t>
            </a:r>
            <a:endParaRPr lang="ru-RU" sz="12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п</a:t>
            </a:r>
            <a:r>
              <a:rPr lang="ru-RU" sz="1200" dirty="0" smtClean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роцесс перемещения </a:t>
            </a: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родителей (законных представителей)</a:t>
            </a:r>
            <a:b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r>
              <a:rPr lang="ru-RU" sz="1200" dirty="0">
                <a:solidFill>
                  <a:schemeClr val="tx2"/>
                </a:solidFill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  <a:t> во внутреннем и внешнем пространстве ДОО</a:t>
            </a:r>
            <a:endParaRPr lang="ru-RU" sz="12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tx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6224057" y="3720395"/>
            <a:ext cx="261718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ли и внедрили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  <a:latin typeface="Times New Roman"/>
                <a:ea typeface="Calibri"/>
                <a:cs typeface="Times New Roman"/>
              </a:rPr>
              <a:t>элементы </a:t>
            </a:r>
            <a:r>
              <a:rPr lang="ru-RU" sz="1200" dirty="0">
                <a:solidFill>
                  <a:srgbClr val="1F497D">
                    <a:lumMod val="75000"/>
                  </a:srgbClr>
                </a:solidFill>
                <a:latin typeface="Times New Roman"/>
                <a:ea typeface="Calibri"/>
                <a:cs typeface="Times New Roman"/>
              </a:rPr>
              <a:t>удобной логистики  внутреннего и внешнего пространства ДОО</a:t>
            </a:r>
            <a:endParaRPr lang="ru-RU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 dirty="0"/>
          </a:p>
        </p:txBody>
      </p:sp>
      <p:sp>
        <p:nvSpPr>
          <p:cNvPr id="3" name="Плюс 2"/>
          <p:cNvSpPr/>
          <p:nvPr/>
        </p:nvSpPr>
        <p:spPr>
          <a:xfrm>
            <a:off x="2809999" y="2492896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люс 19"/>
          <p:cNvSpPr/>
          <p:nvPr/>
        </p:nvSpPr>
        <p:spPr>
          <a:xfrm>
            <a:off x="5551932" y="2492896"/>
            <a:ext cx="435372" cy="432048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351" name="Picture 20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59" y="1541909"/>
            <a:ext cx="1572269" cy="174307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53" name="Picture 20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5278" y="1541909"/>
            <a:ext cx="1485073" cy="174307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361" name="Picture 21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2607" y="1541909"/>
            <a:ext cx="1440160" cy="1743075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262</TotalTime>
  <Words>1378</Words>
  <Application>Microsoft Office PowerPoint</Application>
  <PresentationFormat>Экран (4:3)</PresentationFormat>
  <Paragraphs>418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Тема Office</vt:lpstr>
      <vt:lpstr>2_Тема Office</vt:lpstr>
      <vt:lpstr>3_Тема Office</vt:lpstr>
      <vt:lpstr>4_Тема Office</vt:lpstr>
      <vt:lpstr>5_Тема Office</vt:lpstr>
      <vt:lpstr>6_Тема Office</vt:lpstr>
      <vt:lpstr>7_Тема Office</vt:lpstr>
      <vt:lpstr>think-cell Slide</vt:lpstr>
      <vt:lpstr>Паспорт проекта  «Оптимизация процесса перемещения родителей (законных представителей)  во внутреннем и внешнем пространстве ДОО за счет внедрения элементов удобной логистики»</vt:lpstr>
      <vt:lpstr>Команда проекта </vt:lpstr>
      <vt:lpstr>Карта текущего состояния процесса «Оптимизация процесса  перемещения родителей (законных представителей) во внутреннем и внешнем пространстве ДОО за счёт внедрения элементов удобной логистики»                                                                                                                                                                         24.06.2020 года   </vt:lpstr>
      <vt:lpstr>Пирамида проблем</vt:lpstr>
      <vt:lpstr>Презентация PowerPoint</vt:lpstr>
      <vt:lpstr>Разработка плана мероприятий </vt:lpstr>
      <vt:lpstr>Карта идеального состояния процесса «Оптимизация процесса  перемещения родителей (законных представителей) во внутреннем и внешнем пространстве ДОО за счёт внедрения элементов удобной логистики»                                                                                                                                                                         29.06.2020 года   </vt:lpstr>
      <vt:lpstr>Карта целевого состояния процесса «Оптимизация процесса  перемещения родителей (законных представителей) во внутреннем и внешнем пространстве ДОО за счёт внедрения элементов удобной логистики»                                                                                                                                                                         03.07.2020 года  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243</cp:revision>
  <cp:lastPrinted>2020-12-02T16:57:19Z</cp:lastPrinted>
  <dcterms:created xsi:type="dcterms:W3CDTF">2018-08-20T14:01:12Z</dcterms:created>
  <dcterms:modified xsi:type="dcterms:W3CDTF">2020-12-02T17:04:34Z</dcterms:modified>
</cp:coreProperties>
</file>